
<file path=[Content_Types].xml><?xml version="1.0" encoding="utf-8"?>
<Types xmlns="http://schemas.openxmlformats.org/package/2006/content-types">
  <Default Extension="jpeg" ContentType="image/jpeg"/>
  <Default Extension="jp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6" r:id="rId2"/>
    <p:sldId id="257" r:id="rId3"/>
    <p:sldId id="259" r:id="rId4"/>
    <p:sldId id="260" r:id="rId5"/>
    <p:sldId id="261" r:id="rId6"/>
    <p:sldId id="258" r:id="rId7"/>
  </p:sldIdLst>
  <p:sldSz cx="12192000" cy="6858000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67" d="100"/>
          <a:sy n="67" d="100"/>
        </p:scale>
        <p:origin x="102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5" d="100"/>
          <a:sy n="55" d="100"/>
        </p:scale>
        <p:origin x="288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pattFill prst="ltUpDiag">
              <a:fgClr>
                <a:schemeClr val="bg1">
                  <a:lumMod val="95000"/>
                </a:schemeClr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  <a:effectLst/>
          </c:spPr>
          <c:dPt>
            <c:idx val="0"/>
            <c:bubble3D val="0"/>
            <c:spPr>
              <a:solidFill>
                <a:srgbClr val="ED756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42C-4447-A067-85969142ECDC}"/>
              </c:ext>
            </c:extLst>
          </c:dPt>
          <c:dPt>
            <c:idx val="1"/>
            <c:bubble3D val="0"/>
            <c:spPr>
              <a:solidFill>
                <a:srgbClr val="F2A06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2C-4447-A067-85969142ECDC}"/>
              </c:ext>
            </c:extLst>
          </c:dPt>
          <c:dPt>
            <c:idx val="2"/>
            <c:bubble3D val="0"/>
            <c:spPr>
              <a:solidFill>
                <a:srgbClr val="3EE2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42C-4447-A067-85969142ECDC}"/>
              </c:ext>
            </c:extLst>
          </c:dPt>
          <c:dPt>
            <c:idx val="3"/>
            <c:bubble3D val="0"/>
            <c:spPr>
              <a:solidFill>
                <a:srgbClr val="6F52A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42C-4447-A067-85969142ECDC}"/>
              </c:ext>
            </c:extLst>
          </c:dPt>
          <c:dLbls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2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842C-4447-A067-85969142ECD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800" b="1">
                    <a:solidFill>
                      <a:schemeClr val="bg1"/>
                    </a:solidFill>
                    <a:effectLst>
                      <a:outerShdw blurRad="1143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5</c:v>
                </c:pt>
                <c:pt idx="1">
                  <c:v>0.25</c:v>
                </c:pt>
                <c:pt idx="2">
                  <c:v>0.25</c:v>
                </c:pt>
                <c:pt idx="3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42C-4447-A067-85969142EC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3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CO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5083609208188696E-4"/>
          <c:w val="0.99972722142351778"/>
          <c:h val="0.9998320110671218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9525"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0070C0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E21-4CC1-BF6F-C34FDBF56C15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E21-4CC1-BF6F-C34FDBF56C1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5</c:v>
                </c:pt>
                <c:pt idx="1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E21-4CC1-BF6F-C34FDBF56C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77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7377571213194735E-3"/>
          <c:w val="0.99090399337127022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1A7F1"/>
            </a:solidFill>
            <a:ln w="9525">
              <a:noFill/>
            </a:ln>
          </c:spPr>
          <c:dPt>
            <c:idx val="0"/>
            <c:bubble3D val="0"/>
            <c:spPr>
              <a:solidFill>
                <a:srgbClr val="92D050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911-483C-8E2B-09B157A2D999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911-483C-8E2B-09B157A2D99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5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911-483C-8E2B-09B157A2D9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76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345938726638012E-2"/>
          <c:y val="4.6188302314852658E-3"/>
          <c:w val="0.97991780377249127"/>
          <c:h val="0.9953810827688908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19B5FE"/>
            </a:solidFill>
            <a:ln w="6350"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FFC000"/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B32-4352-B378-33F5E3FCBC37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B32-4352-B378-33F5E3FCBC3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5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B32-4352-B378-33F5E3FCBC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71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243938469566679E-3"/>
          <c:y val="6.1087766284940274E-3"/>
          <c:w val="0.98495121230608673"/>
          <c:h val="0.9877824467430120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3A5B7"/>
            </a:solidFill>
            <a:ln w="9525">
              <a:noFill/>
            </a:ln>
          </c:spPr>
          <c:explosion val="1"/>
          <c:dPt>
            <c:idx val="0"/>
            <c:bubble3D val="0"/>
            <c:spPr>
              <a:solidFill>
                <a:srgbClr val="C00000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6A2-40DB-B073-AE8A9C384A11}"/>
              </c:ext>
            </c:extLst>
          </c:dPt>
          <c:dPt>
            <c:idx val="1"/>
            <c:bubble3D val="0"/>
            <c:spPr>
              <a:solidFill>
                <a:srgbClr val="E7E6E6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6A2-40DB-B073-AE8A9C384A1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6A2-40DB-B073-AE8A9C384A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A54775-405C-4FC4-B588-FD4F7069CFF4}" type="datetimeFigureOut">
              <a:rPr lang="es-CO" smtClean="0"/>
              <a:t>21/10/2021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054FE8-820A-4494-8525-50972DE691B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135195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391467" y="4348064"/>
            <a:ext cx="5411758" cy="1334278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6391468" y="5682342"/>
            <a:ext cx="5411758" cy="522092"/>
          </a:xfrm>
        </p:spPr>
        <p:txBody>
          <a:bodyPr>
            <a:normAutofit/>
          </a:bodyPr>
          <a:lstStyle>
            <a:lvl1pPr marL="0" indent="0" algn="l">
              <a:buNone/>
              <a:defRPr sz="1800" i="1" u="none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editar el estilo de subtítulo del patrón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954785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3746307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730380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765188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438538" y="365125"/>
            <a:ext cx="7060941" cy="581183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819384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00772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799615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878982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3638373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952950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2376132"/>
            <a:ext cx="5181600" cy="4108646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2376132"/>
            <a:ext cx="5181600" cy="4108646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939330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812989"/>
            <a:ext cx="10515600" cy="126725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2129027"/>
            <a:ext cx="5157787" cy="78766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952939"/>
            <a:ext cx="5157787" cy="3522506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2129027"/>
            <a:ext cx="5183188" cy="80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952939"/>
            <a:ext cx="5183188" cy="3522506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427844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293998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F0FCD54-9834-4BE8-9B5B-EEF02B5391B3}" type="datetimeFigureOut">
              <a:rPr lang="es-CO" smtClean="0"/>
              <a:t>21/10/2021</a:t>
            </a:fld>
            <a:endParaRPr lang="es-CO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1EAACC5-580A-406C-9362-EA1B95EDA8C1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44474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79897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138216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2842662"/>
            <a:ext cx="10515600" cy="38287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Edit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863979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C00000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7.xml"/><Relationship Id="rId7" Type="http://schemas.openxmlformats.org/officeDocument/2006/relationships/chart" Target="../charts/char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chart" Target="../charts/chart2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8.xml"/><Relationship Id="rId9" Type="http://schemas.openxmlformats.org/officeDocument/2006/relationships/chart" Target="../charts/char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382731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434704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69"/>
          <p:cNvGrpSpPr/>
          <p:nvPr/>
        </p:nvGrpSpPr>
        <p:grpSpPr>
          <a:xfrm>
            <a:off x="3416371" y="1427419"/>
            <a:ext cx="5139801" cy="4861547"/>
            <a:chOff x="780806" y="1349172"/>
            <a:chExt cx="4286414" cy="4054359"/>
          </a:xfrm>
        </p:grpSpPr>
        <p:sp>
          <p:nvSpPr>
            <p:cNvPr id="6" name="Teardrop 70"/>
            <p:cNvSpPr/>
            <p:nvPr/>
          </p:nvSpPr>
          <p:spPr>
            <a:xfrm flipH="1" flipV="1">
              <a:off x="3019592" y="1349172"/>
              <a:ext cx="1961821" cy="1961821"/>
            </a:xfrm>
            <a:prstGeom prst="teardrop">
              <a:avLst/>
            </a:prstGeom>
            <a:solidFill>
              <a:srgbClr val="E7484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7" name="Teardrop 71"/>
            <p:cNvSpPr/>
            <p:nvPr/>
          </p:nvSpPr>
          <p:spPr>
            <a:xfrm flipV="1">
              <a:off x="885992" y="1349172"/>
              <a:ext cx="1961821" cy="1961821"/>
            </a:xfrm>
            <a:prstGeom prst="teardrop">
              <a:avLst/>
            </a:prstGeom>
            <a:solidFill>
              <a:srgbClr val="4B377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8" name="Teardrop 72"/>
            <p:cNvSpPr/>
            <p:nvPr/>
          </p:nvSpPr>
          <p:spPr>
            <a:xfrm flipH="1">
              <a:off x="3019592" y="3441710"/>
              <a:ext cx="1961821" cy="1961821"/>
            </a:xfrm>
            <a:prstGeom prst="teardrop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9" name="Teardrop 73"/>
            <p:cNvSpPr/>
            <p:nvPr/>
          </p:nvSpPr>
          <p:spPr>
            <a:xfrm>
              <a:off x="885992" y="3441710"/>
              <a:ext cx="1961821" cy="1961821"/>
            </a:xfrm>
            <a:prstGeom prst="teardrop">
              <a:avLst/>
            </a:prstGeom>
            <a:solidFill>
              <a:srgbClr val="1CBB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graphicFrame>
          <p:nvGraphicFramePr>
            <p:cNvPr id="10" name="Chart 74"/>
            <p:cNvGraphicFramePr/>
            <p:nvPr>
              <p:extLst>
                <p:ext uri="{D42A27DB-BD31-4B8C-83A1-F6EECF244321}">
                  <p14:modId xmlns:p14="http://schemas.microsoft.com/office/powerpoint/2010/main" val="4107576967"/>
                </p:ext>
              </p:extLst>
            </p:nvPr>
          </p:nvGraphicFramePr>
          <p:xfrm>
            <a:off x="780806" y="1906050"/>
            <a:ext cx="4286414" cy="285760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11" name="Rectangle 75"/>
            <p:cNvSpPr/>
            <p:nvPr>
              <p:custDataLst>
                <p:tags r:id="rId1"/>
              </p:custDataLst>
            </p:nvPr>
          </p:nvSpPr>
          <p:spPr>
            <a:xfrm>
              <a:off x="1122693" y="2053753"/>
              <a:ext cx="1365053" cy="4818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Lorem Ipsum is simply dummy text of the and typesetting industry</a:t>
              </a:r>
              <a:r>
                <a:rPr lang="id-ID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.</a:t>
              </a:r>
              <a:endParaRPr lang="en-US" sz="1050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" name="Rectangle 76"/>
            <p:cNvSpPr/>
            <p:nvPr>
              <p:custDataLst>
                <p:tags r:id="rId2"/>
              </p:custDataLst>
            </p:nvPr>
          </p:nvSpPr>
          <p:spPr>
            <a:xfrm>
              <a:off x="1122693" y="4225351"/>
              <a:ext cx="1365053" cy="4818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Lorem Ipsum is simply dummy text of the and typesetting industry</a:t>
              </a:r>
              <a:r>
                <a:rPr lang="id-ID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.</a:t>
              </a:r>
              <a:endParaRPr lang="en-US" sz="1050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3" name="Rectangle 77"/>
            <p:cNvSpPr/>
            <p:nvPr>
              <p:custDataLst>
                <p:tags r:id="rId3"/>
              </p:custDataLst>
            </p:nvPr>
          </p:nvSpPr>
          <p:spPr>
            <a:xfrm>
              <a:off x="3360932" y="2053753"/>
              <a:ext cx="1365053" cy="4818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Lorem Ipsum is simply dummy text of the </a:t>
              </a:r>
              <a:r>
                <a:rPr lang="en-US" sz="1050" dirty="0" err="1">
                  <a:solidFill>
                    <a:schemeClr val="bg1"/>
                  </a:solidFill>
                  <a:latin typeface="Arial Narrow" panose="020B0606020202030204" pitchFamily="34" charset="0"/>
                </a:rPr>
                <a:t>nd</a:t>
              </a:r>
              <a:r>
                <a:rPr lang="en-US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 typesetting industry</a:t>
              </a:r>
              <a:r>
                <a:rPr lang="id-ID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.</a:t>
              </a:r>
              <a:endParaRPr lang="en-US" sz="1050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4" name="Rectangle 78"/>
            <p:cNvSpPr/>
            <p:nvPr>
              <p:custDataLst>
                <p:tags r:id="rId4"/>
              </p:custDataLst>
            </p:nvPr>
          </p:nvSpPr>
          <p:spPr>
            <a:xfrm>
              <a:off x="3360932" y="4225351"/>
              <a:ext cx="1365053" cy="4818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Lorem Ipsum is simply dummy text of the and typesetting industry</a:t>
              </a:r>
              <a:r>
                <a:rPr lang="id-ID" sz="105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.</a:t>
              </a:r>
              <a:endParaRPr lang="en-US" sz="1050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6384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859"/>
          <p:cNvGrpSpPr/>
          <p:nvPr/>
        </p:nvGrpSpPr>
        <p:grpSpPr>
          <a:xfrm>
            <a:off x="638022" y="1800245"/>
            <a:ext cx="10645634" cy="4542502"/>
            <a:chOff x="773183" y="1359402"/>
            <a:chExt cx="10645634" cy="4542502"/>
          </a:xfrm>
        </p:grpSpPr>
        <p:grpSp>
          <p:nvGrpSpPr>
            <p:cNvPr id="5" name="Group 69"/>
            <p:cNvGrpSpPr/>
            <p:nvPr/>
          </p:nvGrpSpPr>
          <p:grpSpPr>
            <a:xfrm>
              <a:off x="3824748" y="1359402"/>
              <a:ext cx="4542505" cy="4542502"/>
              <a:chOff x="1600356" y="1567251"/>
              <a:chExt cx="3292072" cy="3292070"/>
            </a:xfrm>
          </p:grpSpPr>
          <p:sp>
            <p:nvSpPr>
              <p:cNvPr id="37" name="Oval 44"/>
              <p:cNvSpPr/>
              <p:nvPr/>
            </p:nvSpPr>
            <p:spPr>
              <a:xfrm>
                <a:off x="1600356" y="1567251"/>
                <a:ext cx="3292072" cy="3292070"/>
              </a:xfrm>
              <a:prstGeom prst="ellipse">
                <a:avLst/>
              </a:prstGeom>
              <a:solidFill>
                <a:schemeClr val="bg2">
                  <a:alpha val="44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aphicFrame>
            <p:nvGraphicFramePr>
              <p:cNvPr id="38" name="Chart 45"/>
              <p:cNvGraphicFramePr/>
              <p:nvPr>
                <p:extLst>
                  <p:ext uri="{D42A27DB-BD31-4B8C-83A1-F6EECF244321}">
                    <p14:modId xmlns:p14="http://schemas.microsoft.com/office/powerpoint/2010/main" val="954373633"/>
                  </p:ext>
                </p:extLst>
              </p:nvPr>
            </p:nvGraphicFramePr>
            <p:xfrm>
              <a:off x="1679865" y="1647140"/>
              <a:ext cx="3132674" cy="313229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  <p:graphicFrame>
            <p:nvGraphicFramePr>
              <p:cNvPr id="39" name="Chart 46"/>
              <p:cNvGraphicFramePr/>
              <p:nvPr>
                <p:extLst>
                  <p:ext uri="{D42A27DB-BD31-4B8C-83A1-F6EECF244321}">
                    <p14:modId xmlns:p14="http://schemas.microsoft.com/office/powerpoint/2010/main" val="563369309"/>
                  </p:ext>
                </p:extLst>
              </p:nvPr>
            </p:nvGraphicFramePr>
            <p:xfrm>
              <a:off x="1919939" y="1889187"/>
              <a:ext cx="2652525" cy="264819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  <p:graphicFrame>
            <p:nvGraphicFramePr>
              <p:cNvPr id="40" name="Chart 47"/>
              <p:cNvGraphicFramePr/>
              <p:nvPr>
                <p:extLst>
                  <p:ext uri="{D42A27DB-BD31-4B8C-83A1-F6EECF244321}">
                    <p14:modId xmlns:p14="http://schemas.microsoft.com/office/powerpoint/2010/main" val="2017125904"/>
                  </p:ext>
                </p:extLst>
              </p:nvPr>
            </p:nvGraphicFramePr>
            <p:xfrm>
              <a:off x="2169888" y="2147601"/>
              <a:ext cx="2152627" cy="211918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8"/>
              </a:graphicData>
            </a:graphic>
          </p:graphicFrame>
          <p:graphicFrame>
            <p:nvGraphicFramePr>
              <p:cNvPr id="41" name="Chart 48"/>
              <p:cNvGraphicFramePr/>
              <p:nvPr>
                <p:extLst>
                  <p:ext uri="{D42A27DB-BD31-4B8C-83A1-F6EECF244321}">
                    <p14:modId xmlns:p14="http://schemas.microsoft.com/office/powerpoint/2010/main" val="559299645"/>
                  </p:ext>
                </p:extLst>
              </p:nvPr>
            </p:nvGraphicFramePr>
            <p:xfrm>
              <a:off x="2476971" y="2444230"/>
              <a:ext cx="1538459" cy="153404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9"/>
              </a:graphicData>
            </a:graphic>
          </p:graphicFrame>
          <p:sp>
            <p:nvSpPr>
              <p:cNvPr id="42" name="Freeform 61"/>
              <p:cNvSpPr/>
              <p:nvPr/>
            </p:nvSpPr>
            <p:spPr>
              <a:xfrm flipH="1">
                <a:off x="2815709" y="2785210"/>
                <a:ext cx="847016" cy="846938"/>
              </a:xfrm>
              <a:custGeom>
                <a:avLst/>
                <a:gdLst>
                  <a:gd name="connsiteX0" fmla="*/ 600652 w 1201304"/>
                  <a:gd name="connsiteY0" fmla="*/ 0 h 1201194"/>
                  <a:gd name="connsiteX1" fmla="*/ 1201304 w 1201304"/>
                  <a:gd name="connsiteY1" fmla="*/ 600652 h 1201194"/>
                  <a:gd name="connsiteX2" fmla="*/ 721704 w 1201304"/>
                  <a:gd name="connsiteY2" fmla="*/ 1189101 h 1201194"/>
                  <a:gd name="connsiteX3" fmla="*/ 601749 w 1201304"/>
                  <a:gd name="connsiteY3" fmla="*/ 1201194 h 1201194"/>
                  <a:gd name="connsiteX4" fmla="*/ 601749 w 1201304"/>
                  <a:gd name="connsiteY4" fmla="*/ 612284 h 1201194"/>
                  <a:gd name="connsiteX5" fmla="*/ 601749 w 1201304"/>
                  <a:gd name="connsiteY5" fmla="*/ 600652 h 1201194"/>
                  <a:gd name="connsiteX6" fmla="*/ 0 w 1201304"/>
                  <a:gd name="connsiteY6" fmla="*/ 600652 h 1201194"/>
                  <a:gd name="connsiteX7" fmla="*/ 600652 w 1201304"/>
                  <a:gd name="connsiteY7" fmla="*/ 0 h 1201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01304" h="1201194">
                    <a:moveTo>
                      <a:pt x="600652" y="0"/>
                    </a:moveTo>
                    <a:cubicBezTo>
                      <a:pt x="932383" y="0"/>
                      <a:pt x="1201304" y="268921"/>
                      <a:pt x="1201304" y="600652"/>
                    </a:cubicBezTo>
                    <a:cubicBezTo>
                      <a:pt x="1201304" y="890917"/>
                      <a:pt x="995412" y="1133092"/>
                      <a:pt x="721704" y="1189101"/>
                    </a:cubicBezTo>
                    <a:lnTo>
                      <a:pt x="601749" y="1201194"/>
                    </a:lnTo>
                    <a:lnTo>
                      <a:pt x="601749" y="612284"/>
                    </a:lnTo>
                    <a:lnTo>
                      <a:pt x="601749" y="600652"/>
                    </a:lnTo>
                    <a:lnTo>
                      <a:pt x="0" y="600652"/>
                    </a:lnTo>
                    <a:cubicBezTo>
                      <a:pt x="0" y="268921"/>
                      <a:pt x="268921" y="0"/>
                      <a:pt x="600652" y="0"/>
                    </a:cubicBezTo>
                    <a:close/>
                  </a:path>
                </a:pathLst>
              </a:custGeom>
              <a:solidFill>
                <a:schemeClr val="bg1">
                  <a:alpha val="3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Freeform 62"/>
              <p:cNvSpPr/>
              <p:nvPr/>
            </p:nvSpPr>
            <p:spPr>
              <a:xfrm flipH="1">
                <a:off x="3234527" y="3206421"/>
                <a:ext cx="1576796" cy="1569361"/>
              </a:xfrm>
              <a:custGeom>
                <a:avLst/>
                <a:gdLst>
                  <a:gd name="connsiteX0" fmla="*/ 588 w 1872760"/>
                  <a:gd name="connsiteY0" fmla="*/ 0 h 1884391"/>
                  <a:gd name="connsiteX1" fmla="*/ 1271011 w 1872760"/>
                  <a:gd name="connsiteY1" fmla="*/ 0 h 1884391"/>
                  <a:gd name="connsiteX2" fmla="*/ 1871663 w 1872760"/>
                  <a:gd name="connsiteY2" fmla="*/ 600652 h 1884391"/>
                  <a:gd name="connsiteX3" fmla="*/ 1872760 w 1872760"/>
                  <a:gd name="connsiteY3" fmla="*/ 600542 h 1884391"/>
                  <a:gd name="connsiteX4" fmla="*/ 1872760 w 1872760"/>
                  <a:gd name="connsiteY4" fmla="*/ 1884391 h 1884391"/>
                  <a:gd name="connsiteX5" fmla="*/ 0 w 1872760"/>
                  <a:gd name="connsiteY5" fmla="*/ 11631 h 1884391"/>
                  <a:gd name="connsiteX6" fmla="*/ 588 w 1872760"/>
                  <a:gd name="connsiteY6" fmla="*/ 0 h 1884391"/>
                  <a:gd name="connsiteX0" fmla="*/ 588 w 1872760"/>
                  <a:gd name="connsiteY0" fmla="*/ 2303 h 1886694"/>
                  <a:gd name="connsiteX1" fmla="*/ 1289433 w 1872760"/>
                  <a:gd name="connsiteY1" fmla="*/ 0 h 1886694"/>
                  <a:gd name="connsiteX2" fmla="*/ 1871663 w 1872760"/>
                  <a:gd name="connsiteY2" fmla="*/ 602955 h 1886694"/>
                  <a:gd name="connsiteX3" fmla="*/ 1872760 w 1872760"/>
                  <a:gd name="connsiteY3" fmla="*/ 602845 h 1886694"/>
                  <a:gd name="connsiteX4" fmla="*/ 1872760 w 1872760"/>
                  <a:gd name="connsiteY4" fmla="*/ 1886694 h 1886694"/>
                  <a:gd name="connsiteX5" fmla="*/ 0 w 1872760"/>
                  <a:gd name="connsiteY5" fmla="*/ 13934 h 1886694"/>
                  <a:gd name="connsiteX6" fmla="*/ 588 w 1872760"/>
                  <a:gd name="connsiteY6" fmla="*/ 2303 h 1886694"/>
                  <a:gd name="connsiteX0" fmla="*/ 588 w 1872760"/>
                  <a:gd name="connsiteY0" fmla="*/ 0 h 1884391"/>
                  <a:gd name="connsiteX1" fmla="*/ 1291736 w 1872760"/>
                  <a:gd name="connsiteY1" fmla="*/ 0 h 1884391"/>
                  <a:gd name="connsiteX2" fmla="*/ 1871663 w 1872760"/>
                  <a:gd name="connsiteY2" fmla="*/ 600652 h 1884391"/>
                  <a:gd name="connsiteX3" fmla="*/ 1872760 w 1872760"/>
                  <a:gd name="connsiteY3" fmla="*/ 600542 h 1884391"/>
                  <a:gd name="connsiteX4" fmla="*/ 1872760 w 1872760"/>
                  <a:gd name="connsiteY4" fmla="*/ 1884391 h 1884391"/>
                  <a:gd name="connsiteX5" fmla="*/ 0 w 1872760"/>
                  <a:gd name="connsiteY5" fmla="*/ 11631 h 1884391"/>
                  <a:gd name="connsiteX6" fmla="*/ 588 w 1872760"/>
                  <a:gd name="connsiteY6" fmla="*/ 0 h 1884391"/>
                  <a:gd name="connsiteX0" fmla="*/ 588 w 1872760"/>
                  <a:gd name="connsiteY0" fmla="*/ 0 h 1884391"/>
                  <a:gd name="connsiteX1" fmla="*/ 1291736 w 1872760"/>
                  <a:gd name="connsiteY1" fmla="*/ 0 h 1884391"/>
                  <a:gd name="connsiteX2" fmla="*/ 1871663 w 1872760"/>
                  <a:gd name="connsiteY2" fmla="*/ 600652 h 1884391"/>
                  <a:gd name="connsiteX3" fmla="*/ 1872760 w 1872760"/>
                  <a:gd name="connsiteY3" fmla="*/ 1884391 h 1884391"/>
                  <a:gd name="connsiteX4" fmla="*/ 0 w 1872760"/>
                  <a:gd name="connsiteY4" fmla="*/ 11631 h 1884391"/>
                  <a:gd name="connsiteX5" fmla="*/ 588 w 1872760"/>
                  <a:gd name="connsiteY5" fmla="*/ 0 h 1884391"/>
                  <a:gd name="connsiteX0" fmla="*/ 588 w 1872760"/>
                  <a:gd name="connsiteY0" fmla="*/ 0 h 1884391"/>
                  <a:gd name="connsiteX1" fmla="*/ 1291736 w 1872760"/>
                  <a:gd name="connsiteY1" fmla="*/ 0 h 1884391"/>
                  <a:gd name="connsiteX2" fmla="*/ 1871663 w 1872760"/>
                  <a:gd name="connsiteY2" fmla="*/ 589138 h 1884391"/>
                  <a:gd name="connsiteX3" fmla="*/ 1872760 w 1872760"/>
                  <a:gd name="connsiteY3" fmla="*/ 1884391 h 1884391"/>
                  <a:gd name="connsiteX4" fmla="*/ 0 w 1872760"/>
                  <a:gd name="connsiteY4" fmla="*/ 11631 h 1884391"/>
                  <a:gd name="connsiteX5" fmla="*/ 588 w 1872760"/>
                  <a:gd name="connsiteY5" fmla="*/ 0 h 1884391"/>
                  <a:gd name="connsiteX0" fmla="*/ 588 w 1872760"/>
                  <a:gd name="connsiteY0" fmla="*/ 0 h 1884391"/>
                  <a:gd name="connsiteX1" fmla="*/ 1291736 w 1872760"/>
                  <a:gd name="connsiteY1" fmla="*/ 0 h 1884391"/>
                  <a:gd name="connsiteX2" fmla="*/ 1871663 w 1872760"/>
                  <a:gd name="connsiteY2" fmla="*/ 589138 h 1884391"/>
                  <a:gd name="connsiteX3" fmla="*/ 1872760 w 1872760"/>
                  <a:gd name="connsiteY3" fmla="*/ 1884391 h 1884391"/>
                  <a:gd name="connsiteX4" fmla="*/ 0 w 1872760"/>
                  <a:gd name="connsiteY4" fmla="*/ 11631 h 1884391"/>
                  <a:gd name="connsiteX5" fmla="*/ 588 w 1872760"/>
                  <a:gd name="connsiteY5" fmla="*/ 0 h 1884391"/>
                  <a:gd name="connsiteX0" fmla="*/ 588 w 1872760"/>
                  <a:gd name="connsiteY0" fmla="*/ 0 h 1884391"/>
                  <a:gd name="connsiteX1" fmla="*/ 1291736 w 1872760"/>
                  <a:gd name="connsiteY1" fmla="*/ 0 h 1884391"/>
                  <a:gd name="connsiteX2" fmla="*/ 1871663 w 1872760"/>
                  <a:gd name="connsiteY2" fmla="*/ 559632 h 1884391"/>
                  <a:gd name="connsiteX3" fmla="*/ 1872760 w 1872760"/>
                  <a:gd name="connsiteY3" fmla="*/ 1884391 h 1884391"/>
                  <a:gd name="connsiteX4" fmla="*/ 0 w 1872760"/>
                  <a:gd name="connsiteY4" fmla="*/ 11631 h 1884391"/>
                  <a:gd name="connsiteX5" fmla="*/ 588 w 1872760"/>
                  <a:gd name="connsiteY5" fmla="*/ 0 h 1884391"/>
                  <a:gd name="connsiteX0" fmla="*/ 588 w 1872760"/>
                  <a:gd name="connsiteY0" fmla="*/ 0 h 1884391"/>
                  <a:gd name="connsiteX1" fmla="*/ 1318267 w 1872760"/>
                  <a:gd name="connsiteY1" fmla="*/ 0 h 1884391"/>
                  <a:gd name="connsiteX2" fmla="*/ 1871663 w 1872760"/>
                  <a:gd name="connsiteY2" fmla="*/ 559632 h 1884391"/>
                  <a:gd name="connsiteX3" fmla="*/ 1872760 w 1872760"/>
                  <a:gd name="connsiteY3" fmla="*/ 1884391 h 1884391"/>
                  <a:gd name="connsiteX4" fmla="*/ 0 w 1872760"/>
                  <a:gd name="connsiteY4" fmla="*/ 11631 h 1884391"/>
                  <a:gd name="connsiteX5" fmla="*/ 588 w 1872760"/>
                  <a:gd name="connsiteY5" fmla="*/ 0 h 1884391"/>
                  <a:gd name="connsiteX0" fmla="*/ 588 w 1872760"/>
                  <a:gd name="connsiteY0" fmla="*/ 0 h 1884391"/>
                  <a:gd name="connsiteX1" fmla="*/ 1318267 w 1872760"/>
                  <a:gd name="connsiteY1" fmla="*/ 0 h 1884391"/>
                  <a:gd name="connsiteX2" fmla="*/ 1871663 w 1872760"/>
                  <a:gd name="connsiteY2" fmla="*/ 559632 h 1884391"/>
                  <a:gd name="connsiteX3" fmla="*/ 1872760 w 1872760"/>
                  <a:gd name="connsiteY3" fmla="*/ 1884391 h 1884391"/>
                  <a:gd name="connsiteX4" fmla="*/ 0 w 1872760"/>
                  <a:gd name="connsiteY4" fmla="*/ 11631 h 1884391"/>
                  <a:gd name="connsiteX5" fmla="*/ 588 w 1872760"/>
                  <a:gd name="connsiteY5" fmla="*/ 0 h 188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72760" h="1884391">
                    <a:moveTo>
                      <a:pt x="588" y="0"/>
                    </a:moveTo>
                    <a:lnTo>
                      <a:pt x="1318267" y="0"/>
                    </a:lnTo>
                    <a:cubicBezTo>
                      <a:pt x="1334187" y="329049"/>
                      <a:pt x="1535326" y="550420"/>
                      <a:pt x="1871663" y="559632"/>
                    </a:cubicBezTo>
                    <a:cubicBezTo>
                      <a:pt x="1872029" y="987545"/>
                      <a:pt x="1872394" y="1456478"/>
                      <a:pt x="1872760" y="1884391"/>
                    </a:cubicBezTo>
                    <a:cubicBezTo>
                      <a:pt x="838463" y="1884391"/>
                      <a:pt x="0" y="1045928"/>
                      <a:pt x="0" y="11631"/>
                    </a:cubicBezTo>
                    <a:lnTo>
                      <a:pt x="588" y="0"/>
                    </a:lnTo>
                    <a:close/>
                  </a:path>
                </a:pathLst>
              </a:custGeom>
              <a:solidFill>
                <a:schemeClr val="bg1">
                  <a:alpha val="3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TextBox 63"/>
              <p:cNvSpPr txBox="1"/>
              <p:nvPr/>
            </p:nvSpPr>
            <p:spPr>
              <a:xfrm>
                <a:off x="3688039" y="2910424"/>
                <a:ext cx="308093" cy="2230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algn="r">
                  <a:defRPr sz="2000" b="1">
                    <a:solidFill>
                      <a:srgbClr val="F39C12"/>
                    </a:solidFill>
                    <a:latin typeface="Calibri Light" panose="020F0302020204030204" pitchFamily="34" charset="0"/>
                  </a:defRPr>
                </a:lvl1pPr>
              </a:lstStyle>
              <a:p>
                <a:pPr algn="ctr"/>
                <a:r>
                  <a:rPr lang="en-US" sz="1400" b="0" dirty="0">
                    <a:solidFill>
                      <a:schemeClr val="tx2"/>
                    </a:solidFill>
                    <a:latin typeface="Arial Black" panose="020B0A04020102020204" pitchFamily="34" charset="0"/>
                  </a:rPr>
                  <a:t>01</a:t>
                </a:r>
              </a:p>
            </p:txBody>
          </p:sp>
          <p:sp>
            <p:nvSpPr>
              <p:cNvPr id="45" name="TextBox 64"/>
              <p:cNvSpPr txBox="1"/>
              <p:nvPr/>
            </p:nvSpPr>
            <p:spPr>
              <a:xfrm>
                <a:off x="3958063" y="2910424"/>
                <a:ext cx="308093" cy="2230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algn="r">
                  <a:defRPr sz="2000" b="1">
                    <a:solidFill>
                      <a:srgbClr val="F39C12"/>
                    </a:solidFill>
                    <a:latin typeface="Calibri Light" panose="020F0302020204030204" pitchFamily="34" charset="0"/>
                  </a:defRPr>
                </a:lvl1pPr>
              </a:lstStyle>
              <a:p>
                <a:pPr algn="ctr"/>
                <a:r>
                  <a:rPr lang="en-US" sz="1400" b="0">
                    <a:solidFill>
                      <a:schemeClr val="tx2"/>
                    </a:solidFill>
                    <a:latin typeface="Arial Black" panose="020B0A04020102020204" pitchFamily="34" charset="0"/>
                  </a:rPr>
                  <a:t>02</a:t>
                </a:r>
              </a:p>
            </p:txBody>
          </p:sp>
          <p:sp>
            <p:nvSpPr>
              <p:cNvPr id="46" name="TextBox 65"/>
              <p:cNvSpPr txBox="1"/>
              <p:nvPr/>
            </p:nvSpPr>
            <p:spPr>
              <a:xfrm>
                <a:off x="4220589" y="2910424"/>
                <a:ext cx="308093" cy="2230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algn="r">
                  <a:defRPr sz="2000" b="1">
                    <a:solidFill>
                      <a:srgbClr val="F39C12"/>
                    </a:solidFill>
                    <a:latin typeface="Calibri Light" panose="020F0302020204030204" pitchFamily="34" charset="0"/>
                  </a:defRPr>
                </a:lvl1pPr>
              </a:lstStyle>
              <a:p>
                <a:pPr algn="ctr"/>
                <a:r>
                  <a:rPr lang="en-US" sz="1400" b="0">
                    <a:solidFill>
                      <a:schemeClr val="tx2"/>
                    </a:solidFill>
                    <a:latin typeface="Arial Black" panose="020B0A04020102020204" pitchFamily="34" charset="0"/>
                  </a:rPr>
                  <a:t>03</a:t>
                </a:r>
              </a:p>
            </p:txBody>
          </p:sp>
          <p:sp>
            <p:nvSpPr>
              <p:cNvPr id="47" name="TextBox 66"/>
              <p:cNvSpPr txBox="1"/>
              <p:nvPr/>
            </p:nvSpPr>
            <p:spPr>
              <a:xfrm>
                <a:off x="4476915" y="2910424"/>
                <a:ext cx="308093" cy="2230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algn="r">
                  <a:defRPr sz="2000" b="1">
                    <a:solidFill>
                      <a:srgbClr val="F39C12"/>
                    </a:solidFill>
                    <a:latin typeface="Calibri Light" panose="020F0302020204030204" pitchFamily="34" charset="0"/>
                  </a:defRPr>
                </a:lvl1pPr>
              </a:lstStyle>
              <a:p>
                <a:pPr algn="ctr"/>
                <a:r>
                  <a:rPr lang="en-US" sz="1400" b="0" dirty="0">
                    <a:solidFill>
                      <a:schemeClr val="tx2"/>
                    </a:solidFill>
                    <a:latin typeface="Arial Black" panose="020B0A04020102020204" pitchFamily="34" charset="0"/>
                  </a:rPr>
                  <a:t>04</a:t>
                </a:r>
              </a:p>
            </p:txBody>
          </p:sp>
          <p:sp>
            <p:nvSpPr>
              <p:cNvPr id="48" name="TextBox 67"/>
              <p:cNvSpPr txBox="1"/>
              <p:nvPr/>
            </p:nvSpPr>
            <p:spPr>
              <a:xfrm>
                <a:off x="2830520" y="2999205"/>
                <a:ext cx="816935" cy="42380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algn="r">
                  <a:defRPr sz="2000" b="1">
                    <a:solidFill>
                      <a:srgbClr val="F39C12"/>
                    </a:solidFill>
                    <a:latin typeface="Calibri Light" panose="020F0302020204030204" pitchFamily="34" charset="0"/>
                  </a:defRPr>
                </a:lvl1pPr>
              </a:lstStyle>
              <a:p>
                <a:pPr algn="ctr"/>
                <a:r>
                  <a:rPr lang="en-US" sz="3200" spc="-300" dirty="0">
                    <a:solidFill>
                      <a:schemeClr val="bg2">
                        <a:lumMod val="25000"/>
                      </a:schemeClr>
                    </a:solidFill>
                    <a:latin typeface="Arial Black" panose="020B0A04020102020204" pitchFamily="34" charset="0"/>
                    <a:cs typeface="Times New Roman" panose="02020603050405020304" pitchFamily="18" charset="0"/>
                  </a:rPr>
                  <a:t>2019</a:t>
                </a:r>
              </a:p>
            </p:txBody>
          </p:sp>
        </p:grpSp>
        <p:grpSp>
          <p:nvGrpSpPr>
            <p:cNvPr id="6" name="Group 858"/>
            <p:cNvGrpSpPr/>
            <p:nvPr/>
          </p:nvGrpSpPr>
          <p:grpSpPr>
            <a:xfrm>
              <a:off x="773183" y="2110981"/>
              <a:ext cx="10645634" cy="2636038"/>
              <a:chOff x="608249" y="2110981"/>
              <a:chExt cx="10645634" cy="2636038"/>
            </a:xfrm>
          </p:grpSpPr>
          <p:grpSp>
            <p:nvGrpSpPr>
              <p:cNvPr id="7" name="Group 857"/>
              <p:cNvGrpSpPr/>
              <p:nvPr/>
            </p:nvGrpSpPr>
            <p:grpSpPr>
              <a:xfrm>
                <a:off x="608249" y="2110981"/>
                <a:ext cx="2663436" cy="2636038"/>
                <a:chOff x="608249" y="678258"/>
                <a:chExt cx="2663436" cy="2636038"/>
              </a:xfrm>
            </p:grpSpPr>
            <p:grpSp>
              <p:nvGrpSpPr>
                <p:cNvPr id="23" name="Group 852"/>
                <p:cNvGrpSpPr/>
                <p:nvPr/>
              </p:nvGrpSpPr>
              <p:grpSpPr>
                <a:xfrm>
                  <a:off x="608249" y="678258"/>
                  <a:ext cx="2663436" cy="1190026"/>
                  <a:chOff x="6785364" y="2712733"/>
                  <a:chExt cx="2663436" cy="1190026"/>
                </a:xfrm>
              </p:grpSpPr>
              <p:grpSp>
                <p:nvGrpSpPr>
                  <p:cNvPr id="31" name="Group 851"/>
                  <p:cNvGrpSpPr/>
                  <p:nvPr/>
                </p:nvGrpSpPr>
                <p:grpSpPr>
                  <a:xfrm>
                    <a:off x="6785364" y="3222539"/>
                    <a:ext cx="2663436" cy="600164"/>
                    <a:chOff x="6785364" y="3192673"/>
                    <a:chExt cx="2663436" cy="600164"/>
                  </a:xfrm>
                </p:grpSpPr>
                <p:sp>
                  <p:nvSpPr>
                    <p:cNvPr id="35" name="Rectangle 56"/>
                    <p:cNvSpPr/>
                    <p:nvPr>
                      <p:custDataLst>
                        <p:tags r:id="rId4"/>
                      </p:custDataLst>
                    </p:nvPr>
                  </p:nvSpPr>
                  <p:spPr>
                    <a:xfrm>
                      <a:off x="7869070" y="3192673"/>
                      <a:ext cx="1579730" cy="600164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r>
                        <a:rPr lang="en-US" sz="1100" dirty="0">
                          <a:solidFill>
                            <a:srgbClr val="404040"/>
                          </a:solidFill>
                        </a:rPr>
                        <a:t>Lorem Ipsum is simply dummy text of the printing and industry</a:t>
                      </a:r>
                      <a:r>
                        <a:rPr lang="id-ID" sz="1100" dirty="0">
                          <a:solidFill>
                            <a:srgbClr val="404040"/>
                          </a:solidFill>
                        </a:rPr>
                        <a:t>.</a:t>
                      </a:r>
                      <a:endParaRPr lang="en-US" sz="1100" dirty="0">
                        <a:solidFill>
                          <a:srgbClr val="404040"/>
                        </a:solidFill>
                      </a:endParaRPr>
                    </a:p>
                  </p:txBody>
                </p:sp>
                <p:sp>
                  <p:nvSpPr>
                    <p:cNvPr id="36" name="TextBox 57"/>
                    <p:cNvSpPr txBox="1"/>
                    <p:nvPr/>
                  </p:nvSpPr>
                  <p:spPr>
                    <a:xfrm>
                      <a:off x="6785364" y="3196222"/>
                      <a:ext cx="1143262" cy="58477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3200" dirty="0">
                          <a:solidFill>
                            <a:srgbClr val="1CBBB3"/>
                          </a:solidFill>
                          <a:latin typeface="Arial Black" panose="020B0A04020102020204" pitchFamily="34" charset="0"/>
                        </a:rPr>
                        <a:t>70%</a:t>
                      </a:r>
                    </a:p>
                  </p:txBody>
                </p:sp>
              </p:grpSp>
              <p:sp>
                <p:nvSpPr>
                  <p:cNvPr id="32" name="TextBox 113"/>
                  <p:cNvSpPr txBox="1"/>
                  <p:nvPr/>
                </p:nvSpPr>
                <p:spPr>
                  <a:xfrm>
                    <a:off x="6811983" y="2712733"/>
                    <a:ext cx="697627" cy="4616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algn="r">
                      <a:defRPr sz="2000" b="1">
                        <a:solidFill>
                          <a:srgbClr val="F39C12"/>
                        </a:solidFill>
                        <a:latin typeface="Calibri Light" panose="020F0302020204030204" pitchFamily="34" charset="0"/>
                      </a:defRPr>
                    </a:lvl1pPr>
                  </a:lstStyle>
                  <a:p>
                    <a:pPr algn="l"/>
                    <a:r>
                      <a:rPr lang="en-US" sz="2400" b="0" dirty="0">
                        <a:solidFill>
                          <a:schemeClr val="tx2"/>
                        </a:solidFill>
                        <a:latin typeface="Arial Black" panose="020B0A04020102020204" pitchFamily="34" charset="0"/>
                      </a:rPr>
                      <a:t>01.</a:t>
                    </a:r>
                    <a:endParaRPr lang="en-US" sz="1400" b="0" dirty="0">
                      <a:solidFill>
                        <a:schemeClr val="tx2"/>
                      </a:solidFill>
                      <a:latin typeface="Arial Black" panose="020B0A04020102020204" pitchFamily="34" charset="0"/>
                    </a:endParaRPr>
                  </a:p>
                </p:txBody>
              </p:sp>
              <p:cxnSp>
                <p:nvCxnSpPr>
                  <p:cNvPr id="33" name="Straight Connector 848"/>
                  <p:cNvCxnSpPr/>
                  <p:nvPr/>
                </p:nvCxnSpPr>
                <p:spPr>
                  <a:xfrm flipV="1">
                    <a:off x="6811982" y="3142482"/>
                    <a:ext cx="2636818" cy="1"/>
                  </a:xfrm>
                  <a:prstGeom prst="line">
                    <a:avLst/>
                  </a:prstGeom>
                  <a:ln>
                    <a:solidFill>
                      <a:srgbClr val="44546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4" name="Straight Connector 124"/>
                  <p:cNvCxnSpPr/>
                  <p:nvPr/>
                </p:nvCxnSpPr>
                <p:spPr>
                  <a:xfrm flipV="1">
                    <a:off x="6811982" y="3902758"/>
                    <a:ext cx="2636818" cy="1"/>
                  </a:xfrm>
                  <a:prstGeom prst="line">
                    <a:avLst/>
                  </a:prstGeom>
                  <a:ln>
                    <a:solidFill>
                      <a:srgbClr val="44546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4" name="Group 127"/>
                <p:cNvGrpSpPr/>
                <p:nvPr/>
              </p:nvGrpSpPr>
              <p:grpSpPr>
                <a:xfrm>
                  <a:off x="608249" y="2124270"/>
                  <a:ext cx="2663436" cy="1190026"/>
                  <a:chOff x="6785364" y="2712733"/>
                  <a:chExt cx="2663436" cy="1190026"/>
                </a:xfrm>
              </p:grpSpPr>
              <p:grpSp>
                <p:nvGrpSpPr>
                  <p:cNvPr id="25" name="Group 128"/>
                  <p:cNvGrpSpPr/>
                  <p:nvPr/>
                </p:nvGrpSpPr>
                <p:grpSpPr>
                  <a:xfrm>
                    <a:off x="6785364" y="3222539"/>
                    <a:ext cx="2663436" cy="600164"/>
                    <a:chOff x="6785364" y="3192673"/>
                    <a:chExt cx="2663436" cy="600164"/>
                  </a:xfrm>
                </p:grpSpPr>
                <p:sp>
                  <p:nvSpPr>
                    <p:cNvPr id="29" name="Rectangle 132"/>
                    <p:cNvSpPr/>
                    <p:nvPr>
                      <p:custDataLst>
                        <p:tags r:id="rId3"/>
                      </p:custDataLst>
                    </p:nvPr>
                  </p:nvSpPr>
                  <p:spPr>
                    <a:xfrm>
                      <a:off x="7869070" y="3192673"/>
                      <a:ext cx="1579730" cy="600164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r>
                        <a:rPr lang="en-US" sz="1100" dirty="0">
                          <a:solidFill>
                            <a:srgbClr val="404040"/>
                          </a:solidFill>
                        </a:rPr>
                        <a:t>Lorem Ipsum is simply dummy text of the printing and industry</a:t>
                      </a:r>
                      <a:r>
                        <a:rPr lang="id-ID" sz="1100" dirty="0">
                          <a:solidFill>
                            <a:srgbClr val="404040"/>
                          </a:solidFill>
                        </a:rPr>
                        <a:t>.</a:t>
                      </a:r>
                      <a:endParaRPr lang="en-US" sz="1100" dirty="0">
                        <a:solidFill>
                          <a:srgbClr val="404040"/>
                        </a:solidFill>
                      </a:endParaRPr>
                    </a:p>
                  </p:txBody>
                </p:sp>
                <p:sp>
                  <p:nvSpPr>
                    <p:cNvPr id="30" name="TextBox 133"/>
                    <p:cNvSpPr txBox="1"/>
                    <p:nvPr/>
                  </p:nvSpPr>
                  <p:spPr>
                    <a:xfrm>
                      <a:off x="6785364" y="3196222"/>
                      <a:ext cx="1143262" cy="58477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3200" dirty="0">
                          <a:solidFill>
                            <a:srgbClr val="A632C5"/>
                          </a:solidFill>
                          <a:latin typeface="Arial Black" panose="020B0A04020102020204" pitchFamily="34" charset="0"/>
                        </a:rPr>
                        <a:t>65%</a:t>
                      </a:r>
                    </a:p>
                  </p:txBody>
                </p:sp>
              </p:grpSp>
              <p:sp>
                <p:nvSpPr>
                  <p:cNvPr id="26" name="TextBox 129"/>
                  <p:cNvSpPr txBox="1"/>
                  <p:nvPr/>
                </p:nvSpPr>
                <p:spPr>
                  <a:xfrm>
                    <a:off x="6811983" y="2712733"/>
                    <a:ext cx="697627" cy="4616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algn="r">
                      <a:defRPr sz="2000" b="1">
                        <a:solidFill>
                          <a:srgbClr val="F39C12"/>
                        </a:solidFill>
                        <a:latin typeface="Calibri Light" panose="020F0302020204030204" pitchFamily="34" charset="0"/>
                      </a:defRPr>
                    </a:lvl1pPr>
                  </a:lstStyle>
                  <a:p>
                    <a:pPr algn="l"/>
                    <a:r>
                      <a:rPr lang="en-US" sz="2400" b="0" dirty="0">
                        <a:solidFill>
                          <a:schemeClr val="tx2"/>
                        </a:solidFill>
                        <a:latin typeface="Arial Black" panose="020B0A04020102020204" pitchFamily="34" charset="0"/>
                      </a:rPr>
                      <a:t>02.</a:t>
                    </a:r>
                    <a:endParaRPr lang="en-US" sz="1400" b="0" dirty="0">
                      <a:solidFill>
                        <a:schemeClr val="tx2"/>
                      </a:solidFill>
                      <a:latin typeface="Arial Black" panose="020B0A04020102020204" pitchFamily="34" charset="0"/>
                    </a:endParaRPr>
                  </a:p>
                </p:txBody>
              </p:sp>
              <p:cxnSp>
                <p:nvCxnSpPr>
                  <p:cNvPr id="27" name="Straight Connector 130"/>
                  <p:cNvCxnSpPr/>
                  <p:nvPr/>
                </p:nvCxnSpPr>
                <p:spPr>
                  <a:xfrm flipV="1">
                    <a:off x="6811982" y="3142482"/>
                    <a:ext cx="2636818" cy="1"/>
                  </a:xfrm>
                  <a:prstGeom prst="line">
                    <a:avLst/>
                  </a:prstGeom>
                  <a:ln>
                    <a:solidFill>
                      <a:srgbClr val="44546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8" name="Straight Connector 131"/>
                  <p:cNvCxnSpPr/>
                  <p:nvPr/>
                </p:nvCxnSpPr>
                <p:spPr>
                  <a:xfrm flipV="1">
                    <a:off x="6811982" y="3902758"/>
                    <a:ext cx="2636818" cy="1"/>
                  </a:xfrm>
                  <a:prstGeom prst="line">
                    <a:avLst/>
                  </a:prstGeom>
                  <a:ln>
                    <a:solidFill>
                      <a:srgbClr val="44546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8" name="Group 855"/>
              <p:cNvGrpSpPr/>
              <p:nvPr/>
            </p:nvGrpSpPr>
            <p:grpSpPr>
              <a:xfrm>
                <a:off x="8590447" y="2110982"/>
                <a:ext cx="2663436" cy="2636037"/>
                <a:chOff x="608249" y="3570282"/>
                <a:chExt cx="2663436" cy="2636037"/>
              </a:xfrm>
            </p:grpSpPr>
            <p:grpSp>
              <p:nvGrpSpPr>
                <p:cNvPr id="9" name="Group 134"/>
                <p:cNvGrpSpPr/>
                <p:nvPr/>
              </p:nvGrpSpPr>
              <p:grpSpPr>
                <a:xfrm>
                  <a:off x="608249" y="3570282"/>
                  <a:ext cx="2663436" cy="1190026"/>
                  <a:chOff x="6785364" y="2712733"/>
                  <a:chExt cx="2663436" cy="1190026"/>
                </a:xfrm>
              </p:grpSpPr>
              <p:grpSp>
                <p:nvGrpSpPr>
                  <p:cNvPr id="17" name="Group 135"/>
                  <p:cNvGrpSpPr/>
                  <p:nvPr/>
                </p:nvGrpSpPr>
                <p:grpSpPr>
                  <a:xfrm>
                    <a:off x="6785364" y="3222539"/>
                    <a:ext cx="2663436" cy="600164"/>
                    <a:chOff x="6785364" y="3192673"/>
                    <a:chExt cx="2663436" cy="600164"/>
                  </a:xfrm>
                </p:grpSpPr>
                <p:sp>
                  <p:nvSpPr>
                    <p:cNvPr id="21" name="Rectangle 139"/>
                    <p:cNvSpPr/>
                    <p:nvPr>
                      <p:custDataLst>
                        <p:tags r:id="rId2"/>
                      </p:custDataLst>
                    </p:nvPr>
                  </p:nvSpPr>
                  <p:spPr>
                    <a:xfrm>
                      <a:off x="7869070" y="3192673"/>
                      <a:ext cx="1579730" cy="600164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r>
                        <a:rPr lang="en-US" sz="1100" dirty="0">
                          <a:solidFill>
                            <a:srgbClr val="404040"/>
                          </a:solidFill>
                        </a:rPr>
                        <a:t>Lorem Ipsum is simply dummy text of the printing and industry</a:t>
                      </a:r>
                      <a:r>
                        <a:rPr lang="id-ID" sz="1100" dirty="0">
                          <a:solidFill>
                            <a:srgbClr val="404040"/>
                          </a:solidFill>
                        </a:rPr>
                        <a:t>.</a:t>
                      </a:r>
                      <a:endParaRPr lang="en-US" sz="1100" dirty="0">
                        <a:solidFill>
                          <a:srgbClr val="404040"/>
                        </a:solidFill>
                      </a:endParaRPr>
                    </a:p>
                  </p:txBody>
                </p:sp>
                <p:sp>
                  <p:nvSpPr>
                    <p:cNvPr id="22" name="TextBox 140"/>
                    <p:cNvSpPr txBox="1"/>
                    <p:nvPr/>
                  </p:nvSpPr>
                  <p:spPr>
                    <a:xfrm>
                      <a:off x="6785364" y="3196222"/>
                      <a:ext cx="1143262" cy="58477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3200" dirty="0">
                          <a:solidFill>
                            <a:srgbClr val="F1487F"/>
                          </a:solidFill>
                          <a:latin typeface="Arial Black" panose="020B0A04020102020204" pitchFamily="34" charset="0"/>
                        </a:rPr>
                        <a:t>55%</a:t>
                      </a:r>
                    </a:p>
                  </p:txBody>
                </p:sp>
              </p:grpSp>
              <p:sp>
                <p:nvSpPr>
                  <p:cNvPr id="18" name="TextBox 136"/>
                  <p:cNvSpPr txBox="1"/>
                  <p:nvPr/>
                </p:nvSpPr>
                <p:spPr>
                  <a:xfrm>
                    <a:off x="6811982" y="2712733"/>
                    <a:ext cx="697627" cy="4616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algn="r">
                      <a:defRPr sz="2000" b="1">
                        <a:solidFill>
                          <a:srgbClr val="F39C12"/>
                        </a:solidFill>
                        <a:latin typeface="Calibri Light" panose="020F0302020204030204" pitchFamily="34" charset="0"/>
                      </a:defRPr>
                    </a:lvl1pPr>
                  </a:lstStyle>
                  <a:p>
                    <a:pPr algn="l"/>
                    <a:r>
                      <a:rPr lang="en-US" sz="2400" b="0" dirty="0">
                        <a:solidFill>
                          <a:schemeClr val="tx2"/>
                        </a:solidFill>
                        <a:latin typeface="Arial Black" panose="020B0A04020102020204" pitchFamily="34" charset="0"/>
                      </a:rPr>
                      <a:t>03.</a:t>
                    </a:r>
                    <a:endParaRPr lang="en-US" sz="1400" b="0" dirty="0">
                      <a:solidFill>
                        <a:schemeClr val="tx2"/>
                      </a:solidFill>
                      <a:latin typeface="Arial Black" panose="020B0A04020102020204" pitchFamily="34" charset="0"/>
                    </a:endParaRPr>
                  </a:p>
                </p:txBody>
              </p:sp>
              <p:cxnSp>
                <p:nvCxnSpPr>
                  <p:cNvPr id="19" name="Straight Connector 137"/>
                  <p:cNvCxnSpPr/>
                  <p:nvPr/>
                </p:nvCxnSpPr>
                <p:spPr>
                  <a:xfrm flipV="1">
                    <a:off x="6811982" y="3142482"/>
                    <a:ext cx="2636818" cy="1"/>
                  </a:xfrm>
                  <a:prstGeom prst="line">
                    <a:avLst/>
                  </a:prstGeom>
                  <a:ln>
                    <a:solidFill>
                      <a:srgbClr val="44546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" name="Straight Connector 138"/>
                  <p:cNvCxnSpPr/>
                  <p:nvPr/>
                </p:nvCxnSpPr>
                <p:spPr>
                  <a:xfrm flipV="1">
                    <a:off x="6811982" y="3902758"/>
                    <a:ext cx="2636818" cy="1"/>
                  </a:xfrm>
                  <a:prstGeom prst="line">
                    <a:avLst/>
                  </a:prstGeom>
                  <a:ln>
                    <a:solidFill>
                      <a:srgbClr val="44546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0" name="Group 141"/>
                <p:cNvGrpSpPr/>
                <p:nvPr/>
              </p:nvGrpSpPr>
              <p:grpSpPr>
                <a:xfrm>
                  <a:off x="608249" y="5016293"/>
                  <a:ext cx="2663436" cy="1190026"/>
                  <a:chOff x="6785364" y="2712733"/>
                  <a:chExt cx="2663436" cy="1190026"/>
                </a:xfrm>
              </p:grpSpPr>
              <p:grpSp>
                <p:nvGrpSpPr>
                  <p:cNvPr id="11" name="Group 142"/>
                  <p:cNvGrpSpPr/>
                  <p:nvPr/>
                </p:nvGrpSpPr>
                <p:grpSpPr>
                  <a:xfrm>
                    <a:off x="6785364" y="3222539"/>
                    <a:ext cx="2663436" cy="600164"/>
                    <a:chOff x="6785364" y="3192673"/>
                    <a:chExt cx="2663436" cy="600164"/>
                  </a:xfrm>
                </p:grpSpPr>
                <p:sp>
                  <p:nvSpPr>
                    <p:cNvPr id="15" name="Rectangle 146"/>
                    <p:cNvSpPr/>
                    <p:nvPr>
                      <p:custDataLst>
                        <p:tags r:id="rId1"/>
                      </p:custDataLst>
                    </p:nvPr>
                  </p:nvSpPr>
                  <p:spPr>
                    <a:xfrm>
                      <a:off x="7869070" y="3192673"/>
                      <a:ext cx="1579730" cy="600164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r>
                        <a:rPr lang="en-US" sz="1100" dirty="0">
                          <a:solidFill>
                            <a:srgbClr val="404040"/>
                          </a:solidFill>
                        </a:rPr>
                        <a:t>Lorem Ipsum is simply dummy text of the printing and industry</a:t>
                      </a:r>
                      <a:r>
                        <a:rPr lang="id-ID" sz="1100" dirty="0">
                          <a:solidFill>
                            <a:srgbClr val="404040"/>
                          </a:solidFill>
                        </a:rPr>
                        <a:t>.</a:t>
                      </a:r>
                      <a:endParaRPr lang="en-US" sz="1100" dirty="0">
                        <a:solidFill>
                          <a:srgbClr val="404040"/>
                        </a:solidFill>
                      </a:endParaRPr>
                    </a:p>
                  </p:txBody>
                </p:sp>
                <p:sp>
                  <p:nvSpPr>
                    <p:cNvPr id="16" name="TextBox 147"/>
                    <p:cNvSpPr txBox="1"/>
                    <p:nvPr/>
                  </p:nvSpPr>
                  <p:spPr>
                    <a:xfrm>
                      <a:off x="6785364" y="3196222"/>
                      <a:ext cx="1143262" cy="58477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3200" dirty="0">
                          <a:solidFill>
                            <a:srgbClr val="44546A"/>
                          </a:solidFill>
                          <a:latin typeface="Arial Black" panose="020B0A04020102020204" pitchFamily="34" charset="0"/>
                        </a:rPr>
                        <a:t>45%</a:t>
                      </a:r>
                    </a:p>
                  </p:txBody>
                </p:sp>
              </p:grpSp>
              <p:sp>
                <p:nvSpPr>
                  <p:cNvPr id="12" name="TextBox 143"/>
                  <p:cNvSpPr txBox="1"/>
                  <p:nvPr/>
                </p:nvSpPr>
                <p:spPr>
                  <a:xfrm>
                    <a:off x="6811982" y="2712733"/>
                    <a:ext cx="697627" cy="4616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>
                    <a:defPPr>
                      <a:defRPr lang="en-US"/>
                    </a:defPPr>
                    <a:lvl1pPr algn="r">
                      <a:defRPr sz="2000" b="1">
                        <a:solidFill>
                          <a:srgbClr val="F39C12"/>
                        </a:solidFill>
                        <a:latin typeface="Calibri Light" panose="020F0302020204030204" pitchFamily="34" charset="0"/>
                      </a:defRPr>
                    </a:lvl1pPr>
                  </a:lstStyle>
                  <a:p>
                    <a:pPr algn="l"/>
                    <a:r>
                      <a:rPr lang="en-US" sz="2400" b="0" dirty="0">
                        <a:solidFill>
                          <a:schemeClr val="tx2"/>
                        </a:solidFill>
                        <a:latin typeface="Arial Black" panose="020B0A04020102020204" pitchFamily="34" charset="0"/>
                      </a:rPr>
                      <a:t>04.</a:t>
                    </a:r>
                    <a:endParaRPr lang="en-US" sz="1400" b="0" dirty="0">
                      <a:solidFill>
                        <a:schemeClr val="tx2"/>
                      </a:solidFill>
                      <a:latin typeface="Arial Black" panose="020B0A04020102020204" pitchFamily="34" charset="0"/>
                    </a:endParaRPr>
                  </a:p>
                </p:txBody>
              </p:sp>
              <p:cxnSp>
                <p:nvCxnSpPr>
                  <p:cNvPr id="13" name="Straight Connector 144"/>
                  <p:cNvCxnSpPr/>
                  <p:nvPr/>
                </p:nvCxnSpPr>
                <p:spPr>
                  <a:xfrm flipV="1">
                    <a:off x="6811982" y="3142482"/>
                    <a:ext cx="2636818" cy="1"/>
                  </a:xfrm>
                  <a:prstGeom prst="line">
                    <a:avLst/>
                  </a:prstGeom>
                  <a:ln>
                    <a:solidFill>
                      <a:srgbClr val="44546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" name="Straight Connector 145"/>
                  <p:cNvCxnSpPr/>
                  <p:nvPr/>
                </p:nvCxnSpPr>
                <p:spPr>
                  <a:xfrm flipV="1">
                    <a:off x="6811982" y="3902758"/>
                    <a:ext cx="2636818" cy="1"/>
                  </a:xfrm>
                  <a:prstGeom prst="line">
                    <a:avLst/>
                  </a:prstGeom>
                  <a:ln>
                    <a:solidFill>
                      <a:srgbClr val="44546A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</p:grpSp>
    </p:spTree>
    <p:extLst>
      <p:ext uri="{BB962C8B-B14F-4D97-AF65-F5344CB8AC3E}">
        <p14:creationId xmlns:p14="http://schemas.microsoft.com/office/powerpoint/2010/main" val="3236891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4939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3771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3</TotalTime>
  <Words>119</Words>
  <Application>Microsoft Office PowerPoint</Application>
  <PresentationFormat>Panorámica</PresentationFormat>
  <Paragraphs>22</Paragraphs>
  <Slides>6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2" baseType="lpstr">
      <vt:lpstr>Arial</vt:lpstr>
      <vt:lpstr>Arial Black</vt:lpstr>
      <vt:lpstr>Arial Narrow</vt:lpstr>
      <vt:lpstr>Calibri</vt:lpstr>
      <vt:lpstr>Calibri Light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UAN FELIPE AGUILAR SOTELO</dc:creator>
  <cp:lastModifiedBy>VIVIANA CATALINA TORRES ORGANISTA</cp:lastModifiedBy>
  <cp:revision>13</cp:revision>
  <dcterms:created xsi:type="dcterms:W3CDTF">2018-11-30T16:08:44Z</dcterms:created>
  <dcterms:modified xsi:type="dcterms:W3CDTF">2021-10-21T22:16:10Z</dcterms:modified>
</cp:coreProperties>
</file>